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8"/>
  </p:notesMasterIdLst>
  <p:sldIdLst>
    <p:sldId id="260" r:id="rId5"/>
    <p:sldId id="261" r:id="rId6"/>
    <p:sldId id="262" r:id="rId7"/>
  </p:sldIdLst>
  <p:sldSz cx="12192000" cy="6858000"/>
  <p:notesSz cx="6797675" cy="9872663"/>
  <p:custDataLst>
    <p:tags r:id="rId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/>
        </p14:section>
        <p14:section name="Templates" id="{3ABD5D4D-2C0C-449C-A140-446C246F69B2}">
          <p14:sldIdLst>
            <p14:sldId id="260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94AA"/>
    <a:srgbClr val="8997A4"/>
    <a:srgbClr val="7C878E"/>
    <a:srgbClr val="000000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868B74-EDAF-440E-B77A-A2B82D8FAF69}" v="1" dt="2023-08-30T14:46:37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94" autoAdjust="0"/>
    <p:restoredTop sz="96327" autoAdjust="0"/>
  </p:normalViewPr>
  <p:slideViewPr>
    <p:cSldViewPr snapToGrid="0">
      <p:cViewPr varScale="1">
        <p:scale>
          <a:sx n="110" d="100"/>
          <a:sy n="110" d="100"/>
        </p:scale>
        <p:origin x="94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2" d="100"/>
          <a:sy n="92" d="100"/>
        </p:scale>
        <p:origin x="3750" y="66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uliana Mandirola" userId="44f72f99-3d9e-4cca-8a2d-df695b282751" providerId="ADAL" clId="{CB868B74-EDAF-440E-B77A-A2B82D8FAF69}"/>
    <pc:docChg chg="undo custSel modSld">
      <pc:chgData name="Giuliana Mandirola" userId="44f72f99-3d9e-4cca-8a2d-df695b282751" providerId="ADAL" clId="{CB868B74-EDAF-440E-B77A-A2B82D8FAF69}" dt="2023-08-30T14:48:11.034" v="88" actId="1076"/>
      <pc:docMkLst>
        <pc:docMk/>
      </pc:docMkLst>
      <pc:sldChg chg="addSp delSp modSp mod addAnim delAnim">
        <pc:chgData name="Giuliana Mandirola" userId="44f72f99-3d9e-4cca-8a2d-df695b282751" providerId="ADAL" clId="{CB868B74-EDAF-440E-B77A-A2B82D8FAF69}" dt="2023-08-30T14:48:11.034" v="88" actId="1076"/>
        <pc:sldMkLst>
          <pc:docMk/>
          <pc:sldMk cId="3557075258" sldId="260"/>
        </pc:sldMkLst>
        <pc:spChg chg="add del mod">
          <ac:chgData name="Giuliana Mandirola" userId="44f72f99-3d9e-4cca-8a2d-df695b282751" providerId="ADAL" clId="{CB868B74-EDAF-440E-B77A-A2B82D8FAF69}" dt="2023-08-30T14:46:57.801" v="62" actId="1076"/>
          <ac:spMkLst>
            <pc:docMk/>
            <pc:sldMk cId="3557075258" sldId="260"/>
            <ac:spMk id="10" creationId="{AC001122-6EE0-2A36-FD2D-27DDCD0EEFF1}"/>
          </ac:spMkLst>
        </pc:spChg>
        <pc:spChg chg="del">
          <ac:chgData name="Giuliana Mandirola" userId="44f72f99-3d9e-4cca-8a2d-df695b282751" providerId="ADAL" clId="{CB868B74-EDAF-440E-B77A-A2B82D8FAF69}" dt="2023-08-30T14:46:59.086" v="63" actId="478"/>
          <ac:spMkLst>
            <pc:docMk/>
            <pc:sldMk cId="3557075258" sldId="260"/>
            <ac:spMk id="11" creationId="{239E1ACD-C447-4CC3-BE4E-6F77A40CCBEC}"/>
          </ac:spMkLst>
        </pc:spChg>
        <pc:spChg chg="mod">
          <ac:chgData name="Giuliana Mandirola" userId="44f72f99-3d9e-4cca-8a2d-df695b282751" providerId="ADAL" clId="{CB868B74-EDAF-440E-B77A-A2B82D8FAF69}" dt="2023-08-30T14:46:50.359" v="60" actId="1076"/>
          <ac:spMkLst>
            <pc:docMk/>
            <pc:sldMk cId="3557075258" sldId="260"/>
            <ac:spMk id="12" creationId="{D1CE591B-0E7E-065B-803D-A2A3C6328338}"/>
          </ac:spMkLst>
        </pc:spChg>
        <pc:spChg chg="mod">
          <ac:chgData name="Giuliana Mandirola" userId="44f72f99-3d9e-4cca-8a2d-df695b282751" providerId="ADAL" clId="{CB868B74-EDAF-440E-B77A-A2B82D8FAF69}" dt="2023-08-30T14:46:54.816" v="61" actId="1076"/>
          <ac:spMkLst>
            <pc:docMk/>
            <pc:sldMk cId="3557075258" sldId="260"/>
            <ac:spMk id="13" creationId="{E98B42C1-636C-1251-CA6D-BA7F8E309435}"/>
          </ac:spMkLst>
        </pc:spChg>
        <pc:spChg chg="mod">
          <ac:chgData name="Giuliana Mandirola" userId="44f72f99-3d9e-4cca-8a2d-df695b282751" providerId="ADAL" clId="{CB868B74-EDAF-440E-B77A-A2B82D8FAF69}" dt="2023-08-30T14:46:14.075" v="46" actId="6549"/>
          <ac:spMkLst>
            <pc:docMk/>
            <pc:sldMk cId="3557075258" sldId="260"/>
            <ac:spMk id="19" creationId="{AF4A140A-BA43-87B8-3DC1-EBC18FEF005D}"/>
          </ac:spMkLst>
        </pc:spChg>
        <pc:picChg chg="add del mod">
          <ac:chgData name="Giuliana Mandirola" userId="44f72f99-3d9e-4cca-8a2d-df695b282751" providerId="ADAL" clId="{CB868B74-EDAF-440E-B77A-A2B82D8FAF69}" dt="2023-08-30T14:48:11.034" v="88" actId="1076"/>
          <ac:picMkLst>
            <pc:docMk/>
            <pc:sldMk cId="3557075258" sldId="260"/>
            <ac:picMk id="3" creationId="{AD0BFAB5-A984-16C0-5D4F-E9912875B870}"/>
          </ac:picMkLst>
        </pc:picChg>
        <pc:picChg chg="add del">
          <ac:chgData name="Giuliana Mandirola" userId="44f72f99-3d9e-4cca-8a2d-df695b282751" providerId="ADAL" clId="{CB868B74-EDAF-440E-B77A-A2B82D8FAF69}" dt="2023-08-30T14:46:44.861" v="58" actId="478"/>
          <ac:picMkLst>
            <pc:docMk/>
            <pc:sldMk cId="3557075258" sldId="260"/>
            <ac:picMk id="4" creationId="{E8289DD9-B93D-FFDA-3D2D-D6FFA1428B5B}"/>
          </ac:picMkLst>
        </pc:picChg>
      </pc:sldChg>
      <pc:sldChg chg="delSp modSp mod">
        <pc:chgData name="Giuliana Mandirola" userId="44f72f99-3d9e-4cca-8a2d-df695b282751" providerId="ADAL" clId="{CB868B74-EDAF-440E-B77A-A2B82D8FAF69}" dt="2023-08-30T14:47:27.774" v="73" actId="1076"/>
        <pc:sldMkLst>
          <pc:docMk/>
          <pc:sldMk cId="3337917406" sldId="261"/>
        </pc:sldMkLst>
        <pc:spChg chg="mod">
          <ac:chgData name="Giuliana Mandirola" userId="44f72f99-3d9e-4cca-8a2d-df695b282751" providerId="ADAL" clId="{CB868B74-EDAF-440E-B77A-A2B82D8FAF69}" dt="2023-08-30T14:47:25.352" v="71" actId="1076"/>
          <ac:spMkLst>
            <pc:docMk/>
            <pc:sldMk cId="3337917406" sldId="261"/>
            <ac:spMk id="10" creationId="{AC001122-6EE0-2A36-FD2D-27DDCD0EEFF1}"/>
          </ac:spMkLst>
        </pc:spChg>
        <pc:spChg chg="del">
          <ac:chgData name="Giuliana Mandirola" userId="44f72f99-3d9e-4cca-8a2d-df695b282751" providerId="ADAL" clId="{CB868B74-EDAF-440E-B77A-A2B82D8FAF69}" dt="2023-08-30T14:47:26.494" v="72" actId="478"/>
          <ac:spMkLst>
            <pc:docMk/>
            <pc:sldMk cId="3337917406" sldId="261"/>
            <ac:spMk id="11" creationId="{239E1ACD-C447-4CC3-BE4E-6F77A40CCBEC}"/>
          </ac:spMkLst>
        </pc:spChg>
        <pc:spChg chg="mod">
          <ac:chgData name="Giuliana Mandirola" userId="44f72f99-3d9e-4cca-8a2d-df695b282751" providerId="ADAL" clId="{CB868B74-EDAF-440E-B77A-A2B82D8FAF69}" dt="2023-08-30T14:47:17.962" v="69" actId="1076"/>
          <ac:spMkLst>
            <pc:docMk/>
            <pc:sldMk cId="3337917406" sldId="261"/>
            <ac:spMk id="12" creationId="{D1CE591B-0E7E-065B-803D-A2A3C6328338}"/>
          </ac:spMkLst>
        </pc:spChg>
        <pc:spChg chg="mod">
          <ac:chgData name="Giuliana Mandirola" userId="44f72f99-3d9e-4cca-8a2d-df695b282751" providerId="ADAL" clId="{CB868B74-EDAF-440E-B77A-A2B82D8FAF69}" dt="2023-08-30T14:47:20.879" v="70" actId="1076"/>
          <ac:spMkLst>
            <pc:docMk/>
            <pc:sldMk cId="3337917406" sldId="261"/>
            <ac:spMk id="13" creationId="{E98B42C1-636C-1251-CA6D-BA7F8E309435}"/>
          </ac:spMkLst>
        </pc:spChg>
        <pc:spChg chg="mod">
          <ac:chgData name="Giuliana Mandirola" userId="44f72f99-3d9e-4cca-8a2d-df695b282751" providerId="ADAL" clId="{CB868B74-EDAF-440E-B77A-A2B82D8FAF69}" dt="2023-08-30T14:47:07.922" v="65"/>
          <ac:spMkLst>
            <pc:docMk/>
            <pc:sldMk cId="3337917406" sldId="261"/>
            <ac:spMk id="19" creationId="{AF4A140A-BA43-87B8-3DC1-EBC18FEF005D}"/>
          </ac:spMkLst>
        </pc:spChg>
        <pc:picChg chg="mod">
          <ac:chgData name="Giuliana Mandirola" userId="44f72f99-3d9e-4cca-8a2d-df695b282751" providerId="ADAL" clId="{CB868B74-EDAF-440E-B77A-A2B82D8FAF69}" dt="2023-08-30T14:47:27.774" v="73" actId="1076"/>
          <ac:picMkLst>
            <pc:docMk/>
            <pc:sldMk cId="3337917406" sldId="261"/>
            <ac:picMk id="2" creationId="{02E4DD4B-1EDA-9E15-F65D-5710073943E3}"/>
          </ac:picMkLst>
        </pc:picChg>
        <pc:picChg chg="del">
          <ac:chgData name="Giuliana Mandirola" userId="44f72f99-3d9e-4cca-8a2d-df695b282751" providerId="ADAL" clId="{CB868B74-EDAF-440E-B77A-A2B82D8FAF69}" dt="2023-08-30T14:47:13.513" v="67" actId="478"/>
          <ac:picMkLst>
            <pc:docMk/>
            <pc:sldMk cId="3337917406" sldId="261"/>
            <ac:picMk id="4" creationId="{E8289DD9-B93D-FFDA-3D2D-D6FFA1428B5B}"/>
          </ac:picMkLst>
        </pc:picChg>
      </pc:sldChg>
      <pc:sldChg chg="delSp modSp mod">
        <pc:chgData name="Giuliana Mandirola" userId="44f72f99-3d9e-4cca-8a2d-df695b282751" providerId="ADAL" clId="{CB868B74-EDAF-440E-B77A-A2B82D8FAF69}" dt="2023-08-30T14:48:08.645" v="87" actId="1076"/>
        <pc:sldMkLst>
          <pc:docMk/>
          <pc:sldMk cId="3413716572" sldId="262"/>
        </pc:sldMkLst>
        <pc:spChg chg="mod">
          <ac:chgData name="Giuliana Mandirola" userId="44f72f99-3d9e-4cca-8a2d-df695b282751" providerId="ADAL" clId="{CB868B74-EDAF-440E-B77A-A2B82D8FAF69}" dt="2023-08-30T14:48:05.674" v="85" actId="1076"/>
          <ac:spMkLst>
            <pc:docMk/>
            <pc:sldMk cId="3413716572" sldId="262"/>
            <ac:spMk id="10" creationId="{AC001122-6EE0-2A36-FD2D-27DDCD0EEFF1}"/>
          </ac:spMkLst>
        </pc:spChg>
        <pc:spChg chg="del mod">
          <ac:chgData name="Giuliana Mandirola" userId="44f72f99-3d9e-4cca-8a2d-df695b282751" providerId="ADAL" clId="{CB868B74-EDAF-440E-B77A-A2B82D8FAF69}" dt="2023-08-30T14:47:53.830" v="81" actId="478"/>
          <ac:spMkLst>
            <pc:docMk/>
            <pc:sldMk cId="3413716572" sldId="262"/>
            <ac:spMk id="11" creationId="{239E1ACD-C447-4CC3-BE4E-6F77A40CCBEC}"/>
          </ac:spMkLst>
        </pc:spChg>
        <pc:spChg chg="mod">
          <ac:chgData name="Giuliana Mandirola" userId="44f72f99-3d9e-4cca-8a2d-df695b282751" providerId="ADAL" clId="{CB868B74-EDAF-440E-B77A-A2B82D8FAF69}" dt="2023-08-30T14:48:00.823" v="83" actId="1076"/>
          <ac:spMkLst>
            <pc:docMk/>
            <pc:sldMk cId="3413716572" sldId="262"/>
            <ac:spMk id="12" creationId="{D1CE591B-0E7E-065B-803D-A2A3C6328338}"/>
          </ac:spMkLst>
        </pc:spChg>
        <pc:spChg chg="mod">
          <ac:chgData name="Giuliana Mandirola" userId="44f72f99-3d9e-4cca-8a2d-df695b282751" providerId="ADAL" clId="{CB868B74-EDAF-440E-B77A-A2B82D8FAF69}" dt="2023-08-30T14:48:03.865" v="84" actId="1076"/>
          <ac:spMkLst>
            <pc:docMk/>
            <pc:sldMk cId="3413716572" sldId="262"/>
            <ac:spMk id="13" creationId="{E98B42C1-636C-1251-CA6D-BA7F8E309435}"/>
          </ac:spMkLst>
        </pc:spChg>
        <pc:spChg chg="mod">
          <ac:chgData name="Giuliana Mandirola" userId="44f72f99-3d9e-4cca-8a2d-df695b282751" providerId="ADAL" clId="{CB868B74-EDAF-440E-B77A-A2B82D8FAF69}" dt="2023-08-30T14:47:36.680" v="76" actId="20577"/>
          <ac:spMkLst>
            <pc:docMk/>
            <pc:sldMk cId="3413716572" sldId="262"/>
            <ac:spMk id="19" creationId="{AF4A140A-BA43-87B8-3DC1-EBC18FEF005D}"/>
          </ac:spMkLst>
        </pc:spChg>
        <pc:picChg chg="mod">
          <ac:chgData name="Giuliana Mandirola" userId="44f72f99-3d9e-4cca-8a2d-df695b282751" providerId="ADAL" clId="{CB868B74-EDAF-440E-B77A-A2B82D8FAF69}" dt="2023-08-30T14:48:08.645" v="87" actId="1076"/>
          <ac:picMkLst>
            <pc:docMk/>
            <pc:sldMk cId="3413716572" sldId="262"/>
            <ac:picMk id="3" creationId="{B85C3067-0F23-A3F9-4C26-1568165CD064}"/>
          </ac:picMkLst>
        </pc:picChg>
        <pc:picChg chg="del">
          <ac:chgData name="Giuliana Mandirola" userId="44f72f99-3d9e-4cca-8a2d-df695b282751" providerId="ADAL" clId="{CB868B74-EDAF-440E-B77A-A2B82D8FAF69}" dt="2023-08-30T14:47:44.567" v="78" actId="478"/>
          <ac:picMkLst>
            <pc:docMk/>
            <pc:sldMk cId="3413716572" sldId="262"/>
            <ac:picMk id="4" creationId="{E8289DD9-B93D-FFDA-3D2D-D6FFA1428B5B}"/>
          </ac:picMkLst>
        </pc:picChg>
      </pc:sldChg>
    </pc:docChg>
  </pc:docChgLst>
  <pc:docChgLst>
    <pc:chgData name="Giuliana Mandirola" userId="44f72f99-3d9e-4cca-8a2d-df695b282751" providerId="ADAL" clId="{698EAE8B-D696-4342-9043-CC19C1ABA0F2}"/>
    <pc:docChg chg="undo redo custSel modSld">
      <pc:chgData name="Giuliana Mandirola" userId="44f72f99-3d9e-4cca-8a2d-df695b282751" providerId="ADAL" clId="{698EAE8B-D696-4342-9043-CC19C1ABA0F2}" dt="2023-08-28T15:12:51.441" v="1143" actId="1076"/>
      <pc:docMkLst>
        <pc:docMk/>
      </pc:docMkLst>
      <pc:sldChg chg="addSp delSp modSp mod delAnim modAnim">
        <pc:chgData name="Giuliana Mandirola" userId="44f72f99-3d9e-4cca-8a2d-df695b282751" providerId="ADAL" clId="{698EAE8B-D696-4342-9043-CC19C1ABA0F2}" dt="2023-08-28T15:12:51.441" v="1143" actId="1076"/>
        <pc:sldMkLst>
          <pc:docMk/>
          <pc:sldMk cId="3557075258" sldId="260"/>
        </pc:sldMkLst>
        <pc:spChg chg="mod">
          <ac:chgData name="Giuliana Mandirola" userId="44f72f99-3d9e-4cca-8a2d-df695b282751" providerId="ADAL" clId="{698EAE8B-D696-4342-9043-CC19C1ABA0F2}" dt="2023-08-28T15:05:25.564" v="558" actId="20577"/>
          <ac:spMkLst>
            <pc:docMk/>
            <pc:sldMk cId="3557075258" sldId="260"/>
            <ac:spMk id="10" creationId="{AC001122-6EE0-2A36-FD2D-27DDCD0EEFF1}"/>
          </ac:spMkLst>
        </pc:spChg>
        <pc:spChg chg="mod">
          <ac:chgData name="Giuliana Mandirola" userId="44f72f99-3d9e-4cca-8a2d-df695b282751" providerId="ADAL" clId="{698EAE8B-D696-4342-9043-CC19C1ABA0F2}" dt="2023-08-28T15:12:51.441" v="1143" actId="1076"/>
          <ac:spMkLst>
            <pc:docMk/>
            <pc:sldMk cId="3557075258" sldId="260"/>
            <ac:spMk id="13" creationId="{E98B42C1-636C-1251-CA6D-BA7F8E309435}"/>
          </ac:spMkLst>
        </pc:spChg>
        <pc:spChg chg="mod">
          <ac:chgData name="Giuliana Mandirola" userId="44f72f99-3d9e-4cca-8a2d-df695b282751" providerId="ADAL" clId="{698EAE8B-D696-4342-9043-CC19C1ABA0F2}" dt="2023-08-28T15:11:39.026" v="1071" actId="20577"/>
          <ac:spMkLst>
            <pc:docMk/>
            <pc:sldMk cId="3557075258" sldId="260"/>
            <ac:spMk id="19" creationId="{AF4A140A-BA43-87B8-3DC1-EBC18FEF005D}"/>
          </ac:spMkLst>
        </pc:spChg>
        <pc:grpChg chg="del mod">
          <ac:chgData name="Giuliana Mandirola" userId="44f72f99-3d9e-4cca-8a2d-df695b282751" providerId="ADAL" clId="{698EAE8B-D696-4342-9043-CC19C1ABA0F2}" dt="2023-08-28T15:01:28.691" v="525" actId="478"/>
          <ac:grpSpMkLst>
            <pc:docMk/>
            <pc:sldMk cId="3557075258" sldId="260"/>
            <ac:grpSpMk id="15" creationId="{2305D372-ED04-9A6A-4E30-A35F184E46B7}"/>
          </ac:grpSpMkLst>
        </pc:grpChg>
        <pc:picChg chg="add del mod">
          <ac:chgData name="Giuliana Mandirola" userId="44f72f99-3d9e-4cca-8a2d-df695b282751" providerId="ADAL" clId="{698EAE8B-D696-4342-9043-CC19C1ABA0F2}" dt="2023-08-28T15:03:21.440" v="528" actId="478"/>
          <ac:picMkLst>
            <pc:docMk/>
            <pc:sldMk cId="3557075258" sldId="260"/>
            <ac:picMk id="2" creationId="{AA3F09B9-ADD1-B4F7-2D88-21CB88CEBC1B}"/>
          </ac:picMkLst>
        </pc:picChg>
        <pc:picChg chg="add mod">
          <ac:chgData name="Giuliana Mandirola" userId="44f72f99-3d9e-4cca-8a2d-df695b282751" providerId="ADAL" clId="{698EAE8B-D696-4342-9043-CC19C1ABA0F2}" dt="2023-08-28T15:03:59.132" v="532" actId="14100"/>
          <ac:picMkLst>
            <pc:docMk/>
            <pc:sldMk cId="3557075258" sldId="260"/>
            <ac:picMk id="3" creationId="{AD0BFAB5-A984-16C0-5D4F-E9912875B870}"/>
          </ac:picMkLst>
        </pc:picChg>
        <pc:picChg chg="del">
          <ac:chgData name="Giuliana Mandirola" userId="44f72f99-3d9e-4cca-8a2d-df695b282751" providerId="ADAL" clId="{698EAE8B-D696-4342-9043-CC19C1ABA0F2}" dt="2023-08-28T15:02:38.262" v="526" actId="478"/>
          <ac:picMkLst>
            <pc:docMk/>
            <pc:sldMk cId="3557075258" sldId="260"/>
            <ac:picMk id="5" creationId="{8E9BE6FA-7AB3-CF97-EFCA-B666117E4B76}"/>
          </ac:picMkLst>
        </pc:picChg>
      </pc:sldChg>
      <pc:sldChg chg="addSp delSp modSp mod delAnim modAnim">
        <pc:chgData name="Giuliana Mandirola" userId="44f72f99-3d9e-4cca-8a2d-df695b282751" providerId="ADAL" clId="{698EAE8B-D696-4342-9043-CC19C1ABA0F2}" dt="2023-08-28T15:12:45.677" v="1139" actId="1076"/>
        <pc:sldMkLst>
          <pc:docMk/>
          <pc:sldMk cId="3337917406" sldId="261"/>
        </pc:sldMkLst>
        <pc:spChg chg="mod">
          <ac:chgData name="Giuliana Mandirola" userId="44f72f99-3d9e-4cca-8a2d-df695b282751" providerId="ADAL" clId="{698EAE8B-D696-4342-9043-CC19C1ABA0F2}" dt="2023-08-28T15:05:36.106" v="559"/>
          <ac:spMkLst>
            <pc:docMk/>
            <pc:sldMk cId="3337917406" sldId="261"/>
            <ac:spMk id="10" creationId="{AC001122-6EE0-2A36-FD2D-27DDCD0EEFF1}"/>
          </ac:spMkLst>
        </pc:spChg>
        <pc:spChg chg="mod">
          <ac:chgData name="Giuliana Mandirola" userId="44f72f99-3d9e-4cca-8a2d-df695b282751" providerId="ADAL" clId="{698EAE8B-D696-4342-9043-CC19C1ABA0F2}" dt="2023-08-28T15:12:45.677" v="1139" actId="1076"/>
          <ac:spMkLst>
            <pc:docMk/>
            <pc:sldMk cId="3337917406" sldId="261"/>
            <ac:spMk id="13" creationId="{E98B42C1-636C-1251-CA6D-BA7F8E309435}"/>
          </ac:spMkLst>
        </pc:spChg>
        <pc:spChg chg="mod">
          <ac:chgData name="Giuliana Mandirola" userId="44f72f99-3d9e-4cca-8a2d-df695b282751" providerId="ADAL" clId="{698EAE8B-D696-4342-9043-CC19C1ABA0F2}" dt="2023-08-28T15:11:36.931" v="1070" actId="20577"/>
          <ac:spMkLst>
            <pc:docMk/>
            <pc:sldMk cId="3337917406" sldId="261"/>
            <ac:spMk id="19" creationId="{AF4A140A-BA43-87B8-3DC1-EBC18FEF005D}"/>
          </ac:spMkLst>
        </pc:spChg>
        <pc:grpChg chg="del">
          <ac:chgData name="Giuliana Mandirola" userId="44f72f99-3d9e-4cca-8a2d-df695b282751" providerId="ADAL" clId="{698EAE8B-D696-4342-9043-CC19C1ABA0F2}" dt="2023-08-28T15:11:49.062" v="1074" actId="478"/>
          <ac:grpSpMkLst>
            <pc:docMk/>
            <pc:sldMk cId="3337917406" sldId="261"/>
            <ac:grpSpMk id="15" creationId="{2305D372-ED04-9A6A-4E30-A35F184E46B7}"/>
          </ac:grpSpMkLst>
        </pc:grpChg>
        <pc:picChg chg="add mod">
          <ac:chgData name="Giuliana Mandirola" userId="44f72f99-3d9e-4cca-8a2d-df695b282751" providerId="ADAL" clId="{698EAE8B-D696-4342-9043-CC19C1ABA0F2}" dt="2023-08-28T15:04:27.673" v="540"/>
          <ac:picMkLst>
            <pc:docMk/>
            <pc:sldMk cId="3337917406" sldId="261"/>
            <ac:picMk id="2" creationId="{02E4DD4B-1EDA-9E15-F65D-5710073943E3}"/>
          </ac:picMkLst>
        </pc:picChg>
        <pc:picChg chg="del">
          <ac:chgData name="Giuliana Mandirola" userId="44f72f99-3d9e-4cca-8a2d-df695b282751" providerId="ADAL" clId="{698EAE8B-D696-4342-9043-CC19C1ABA0F2}" dt="2023-08-28T15:04:02.530" v="533" actId="478"/>
          <ac:picMkLst>
            <pc:docMk/>
            <pc:sldMk cId="3337917406" sldId="261"/>
            <ac:picMk id="7" creationId="{D1FEEF02-C94C-F7F6-068C-18FC7B644038}"/>
          </ac:picMkLst>
        </pc:picChg>
      </pc:sldChg>
      <pc:sldChg chg="addSp delSp modSp mod delAnim modAnim">
        <pc:chgData name="Giuliana Mandirola" userId="44f72f99-3d9e-4cca-8a2d-df695b282751" providerId="ADAL" clId="{698EAE8B-D696-4342-9043-CC19C1ABA0F2}" dt="2023-08-28T15:12:37.021" v="1135" actId="20577"/>
        <pc:sldMkLst>
          <pc:docMk/>
          <pc:sldMk cId="3413716572" sldId="262"/>
        </pc:sldMkLst>
        <pc:spChg chg="mod">
          <ac:chgData name="Giuliana Mandirola" userId="44f72f99-3d9e-4cca-8a2d-df695b282751" providerId="ADAL" clId="{698EAE8B-D696-4342-9043-CC19C1ABA0F2}" dt="2023-08-28T15:05:39.020" v="560"/>
          <ac:spMkLst>
            <pc:docMk/>
            <pc:sldMk cId="3413716572" sldId="262"/>
            <ac:spMk id="10" creationId="{AC001122-6EE0-2A36-FD2D-27DDCD0EEFF1}"/>
          </ac:spMkLst>
        </pc:spChg>
        <pc:spChg chg="mod">
          <ac:chgData name="Giuliana Mandirola" userId="44f72f99-3d9e-4cca-8a2d-df695b282751" providerId="ADAL" clId="{698EAE8B-D696-4342-9043-CC19C1ABA0F2}" dt="2023-08-28T15:12:37.021" v="1135" actId="20577"/>
          <ac:spMkLst>
            <pc:docMk/>
            <pc:sldMk cId="3413716572" sldId="262"/>
            <ac:spMk id="13" creationId="{E98B42C1-636C-1251-CA6D-BA7F8E309435}"/>
          </ac:spMkLst>
        </pc:spChg>
        <pc:spChg chg="mod">
          <ac:chgData name="Giuliana Mandirola" userId="44f72f99-3d9e-4cca-8a2d-df695b282751" providerId="ADAL" clId="{698EAE8B-D696-4342-9043-CC19C1ABA0F2}" dt="2023-08-28T15:11:41.198" v="1072" actId="20577"/>
          <ac:spMkLst>
            <pc:docMk/>
            <pc:sldMk cId="3413716572" sldId="262"/>
            <ac:spMk id="19" creationId="{AF4A140A-BA43-87B8-3DC1-EBC18FEF005D}"/>
          </ac:spMkLst>
        </pc:spChg>
        <pc:grpChg chg="del">
          <ac:chgData name="Giuliana Mandirola" userId="44f72f99-3d9e-4cca-8a2d-df695b282751" providerId="ADAL" clId="{698EAE8B-D696-4342-9043-CC19C1ABA0F2}" dt="2023-08-28T15:11:47.460" v="1073" actId="478"/>
          <ac:grpSpMkLst>
            <pc:docMk/>
            <pc:sldMk cId="3413716572" sldId="262"/>
            <ac:grpSpMk id="15" creationId="{2305D372-ED04-9A6A-4E30-A35F184E46B7}"/>
          </ac:grpSpMkLst>
        </pc:grpChg>
        <pc:picChg chg="add del mod">
          <ac:chgData name="Giuliana Mandirola" userId="44f72f99-3d9e-4cca-8a2d-df695b282751" providerId="ADAL" clId="{698EAE8B-D696-4342-9043-CC19C1ABA0F2}" dt="2023-08-28T15:04:30.429" v="541" actId="478"/>
          <ac:picMkLst>
            <pc:docMk/>
            <pc:sldMk cId="3413716572" sldId="262"/>
            <ac:picMk id="2" creationId="{E2F1EC46-8557-7DF9-4043-D7E0D2C72061}"/>
          </ac:picMkLst>
        </pc:picChg>
        <pc:picChg chg="add mod">
          <ac:chgData name="Giuliana Mandirola" userId="44f72f99-3d9e-4cca-8a2d-df695b282751" providerId="ADAL" clId="{698EAE8B-D696-4342-9043-CC19C1ABA0F2}" dt="2023-08-28T15:04:50.432" v="546" actId="1076"/>
          <ac:picMkLst>
            <pc:docMk/>
            <pc:sldMk cId="3413716572" sldId="262"/>
            <ac:picMk id="3" creationId="{B85C3067-0F23-A3F9-4C26-1568165CD064}"/>
          </ac:picMkLst>
        </pc:picChg>
        <pc:picChg chg="del">
          <ac:chgData name="Giuliana Mandirola" userId="44f72f99-3d9e-4cca-8a2d-df695b282751" providerId="ADAL" clId="{698EAE8B-D696-4342-9043-CC19C1ABA0F2}" dt="2023-08-28T15:04:04.244" v="534" actId="478"/>
          <ac:picMkLst>
            <pc:docMk/>
            <pc:sldMk cId="3413716572" sldId="262"/>
            <ac:picMk id="5" creationId="{E0741D14-6BF8-5192-C723-783D20143B62}"/>
          </ac:picMkLst>
        </pc:picChg>
        <pc:picChg chg="del topLvl">
          <ac:chgData name="Giuliana Mandirola" userId="44f72f99-3d9e-4cca-8a2d-df695b282751" providerId="ADAL" clId="{698EAE8B-D696-4342-9043-CC19C1ABA0F2}" dt="2023-08-28T15:11:47.460" v="1073" actId="478"/>
          <ac:picMkLst>
            <pc:docMk/>
            <pc:sldMk cId="3413716572" sldId="262"/>
            <ac:picMk id="16" creationId="{EFF12513-05AA-9553-B9DB-4E7BD0B93A06}"/>
          </ac:picMkLst>
        </pc:picChg>
        <pc:picChg chg="topLvl">
          <ac:chgData name="Giuliana Mandirola" userId="44f72f99-3d9e-4cca-8a2d-df695b282751" providerId="ADAL" clId="{698EAE8B-D696-4342-9043-CC19C1ABA0F2}" dt="2023-08-28T15:11:47.460" v="1073" actId="478"/>
          <ac:picMkLst>
            <pc:docMk/>
            <pc:sldMk cId="3413716572" sldId="262"/>
            <ac:picMk id="17" creationId="{BA2162F3-70DC-0BDA-BC12-C59B5EEAA3BF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 dirty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8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0.png"/><Relationship Id="rId4" Type="http://schemas.openxmlformats.org/officeDocument/2006/relationships/hyperlink" Target="https://www.nilfisk.com/it-it/campaigns/presentazione-la-lavasciuga-pavimenti-compatta-sc370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0.png"/><Relationship Id="rId4" Type="http://schemas.openxmlformats.org/officeDocument/2006/relationships/hyperlink" Target="https://www.nilfisk.com/it-it/campaigns/presentazione-la-lavasciuga-pavimenti-compatta-sc370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hyperlink" Target="https://www.nilfisk.com/it-it/campaigns/presentazione-la-lavasciuga-pavimenti-compatta-sc370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>
            <a:extLst>
              <a:ext uri="{FF2B5EF4-FFF2-40B4-BE49-F238E27FC236}">
                <a16:creationId xmlns:a16="http://schemas.microsoft.com/office/drawing/2014/main" id="{BACF6DDA-F4C1-4D21-7298-C7D4E9895E4D}"/>
              </a:ext>
            </a:extLst>
          </p:cNvPr>
          <p:cNvSpPr/>
          <p:nvPr/>
        </p:nvSpPr>
        <p:spPr>
          <a:xfrm>
            <a:off x="3950028" y="2350184"/>
            <a:ext cx="3160949" cy="363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Oval 12">
            <a:extLst>
              <a:ext uri="{FF2B5EF4-FFF2-40B4-BE49-F238E27FC236}">
                <a16:creationId xmlns:a16="http://schemas.microsoft.com/office/drawing/2014/main" id="{AC001122-6EE0-2A36-FD2D-27DDCD0EEFF1}"/>
              </a:ext>
            </a:extLst>
          </p:cNvPr>
          <p:cNvSpPr/>
          <p:nvPr/>
        </p:nvSpPr>
        <p:spPr>
          <a:xfrm>
            <a:off x="4907186" y="4487192"/>
            <a:ext cx="1310398" cy="1318524"/>
          </a:xfrm>
          <a:prstGeom prst="ellips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dirty="0">
                <a:solidFill>
                  <a:schemeClr val="bg1"/>
                </a:solidFill>
              </a:rPr>
              <a:t>Clicca sul bottone per vedere il video animato</a:t>
            </a: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D1CE591B-0E7E-065B-803D-A2A3C6328338}"/>
              </a:ext>
            </a:extLst>
          </p:cNvPr>
          <p:cNvSpPr/>
          <p:nvPr/>
        </p:nvSpPr>
        <p:spPr>
          <a:xfrm>
            <a:off x="1439925" y="1445864"/>
            <a:ext cx="3182112" cy="146873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dirty="0">
              <a:solidFill>
                <a:schemeClr val="tx1"/>
              </a:solidFill>
            </a:endParaRPr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E98B42C1-636C-1251-CA6D-BA7F8E309435}"/>
              </a:ext>
            </a:extLst>
          </p:cNvPr>
          <p:cNvSpPr txBox="1"/>
          <p:nvPr/>
        </p:nvSpPr>
        <p:spPr>
          <a:xfrm>
            <a:off x="1647373" y="1673038"/>
            <a:ext cx="2960267" cy="12415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Sta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cercando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un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macchin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lavasciug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ch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oss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ulir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I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tuo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aviment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in modo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silenzioso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nell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ore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diurn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e in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ambient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affollat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? Ecco la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macchin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@Nilfisk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ideal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per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t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.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Guardal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 in azione</a:t>
            </a: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#nilfiskitalia #nilfisk #lavasciugapavimenti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AF4A140A-BA43-87B8-3DC1-EBC18FEF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4471"/>
            <a:ext cx="11233150" cy="525554"/>
          </a:xfrm>
        </p:spPr>
        <p:txBody>
          <a:bodyPr/>
          <a:lstStyle/>
          <a:p>
            <a:r>
              <a:rPr lang="en-US" dirty="0"/>
              <a:t>Testo per post Video1</a:t>
            </a:r>
            <a:br>
              <a:rPr lang="en-US" dirty="0"/>
            </a:br>
            <a:endParaRPr lang="da-DK" dirty="0"/>
          </a:p>
        </p:txBody>
      </p:sp>
      <p:pic>
        <p:nvPicPr>
          <p:cNvPr id="3" name="N112_0072_V1_SC370-Organic-SoMe-post-1-8501_1200x1200px_IT-IT_PROOF1">
            <a:hlinkClick r:id="" action="ppaction://media"/>
            <a:extLst>
              <a:ext uri="{FF2B5EF4-FFF2-40B4-BE49-F238E27FC236}">
                <a16:creationId xmlns:a16="http://schemas.microsoft.com/office/drawing/2014/main" id="{AD0BFAB5-A984-16C0-5D4F-E9912875B87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786986" y="1445864"/>
            <a:ext cx="3182111" cy="318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7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0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>
            <a:extLst>
              <a:ext uri="{FF2B5EF4-FFF2-40B4-BE49-F238E27FC236}">
                <a16:creationId xmlns:a16="http://schemas.microsoft.com/office/drawing/2014/main" id="{BACF6DDA-F4C1-4D21-7298-C7D4E9895E4D}"/>
              </a:ext>
            </a:extLst>
          </p:cNvPr>
          <p:cNvSpPr/>
          <p:nvPr/>
        </p:nvSpPr>
        <p:spPr>
          <a:xfrm>
            <a:off x="3950028" y="2350184"/>
            <a:ext cx="3160949" cy="363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Oval 12">
            <a:extLst>
              <a:ext uri="{FF2B5EF4-FFF2-40B4-BE49-F238E27FC236}">
                <a16:creationId xmlns:a16="http://schemas.microsoft.com/office/drawing/2014/main" id="{AC001122-6EE0-2A36-FD2D-27DDCD0EEFF1}"/>
              </a:ext>
            </a:extLst>
          </p:cNvPr>
          <p:cNvSpPr/>
          <p:nvPr/>
        </p:nvSpPr>
        <p:spPr>
          <a:xfrm>
            <a:off x="5006911" y="3318855"/>
            <a:ext cx="1310398" cy="1318524"/>
          </a:xfrm>
          <a:prstGeom prst="ellips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dirty="0">
                <a:solidFill>
                  <a:schemeClr val="bg1"/>
                </a:solidFill>
              </a:rPr>
              <a:t>Clicca sul bottone per vedere il video animato</a:t>
            </a: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D1CE591B-0E7E-065B-803D-A2A3C6328338}"/>
              </a:ext>
            </a:extLst>
          </p:cNvPr>
          <p:cNvSpPr/>
          <p:nvPr/>
        </p:nvSpPr>
        <p:spPr>
          <a:xfrm>
            <a:off x="1016851" y="1412692"/>
            <a:ext cx="3182112" cy="176430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dirty="0">
              <a:solidFill>
                <a:schemeClr val="tx1"/>
              </a:solidFill>
            </a:endParaRPr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E98B42C1-636C-1251-CA6D-BA7F8E309435}"/>
              </a:ext>
            </a:extLst>
          </p:cNvPr>
          <p:cNvSpPr txBox="1"/>
          <p:nvPr/>
        </p:nvSpPr>
        <p:spPr>
          <a:xfrm>
            <a:off x="1127773" y="1538088"/>
            <a:ext cx="2960267" cy="1601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E’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arrivat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la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nuov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lavasciug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uomo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a terra Nilfisk! Facile da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manovrare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compatt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e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otente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, la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nuov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sc370 è la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macchina</a:t>
            </a:r>
            <a: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ideal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per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negoz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ospedal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e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scuol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e per tutti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gl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ambienti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 in cui la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ulizi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nell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ore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diurn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uò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essere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critic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!</a:t>
            </a:r>
            <a:br>
              <a:rPr lang="en-US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</a:b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Guardal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 in azione</a:t>
            </a: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#nilfiskitalia #nilfisk #lavasciugapavimenti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AF4A140A-BA43-87B8-3DC1-EBC18FEF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4471"/>
            <a:ext cx="11233150" cy="525554"/>
          </a:xfrm>
        </p:spPr>
        <p:txBody>
          <a:bodyPr/>
          <a:lstStyle/>
          <a:p>
            <a:r>
              <a:rPr lang="en-US" dirty="0"/>
              <a:t>Testo per post Video1</a:t>
            </a:r>
            <a:br>
              <a:rPr lang="en-US" dirty="0"/>
            </a:br>
            <a:endParaRPr lang="da-DK" dirty="0"/>
          </a:p>
        </p:txBody>
      </p:sp>
      <p:pic>
        <p:nvPicPr>
          <p:cNvPr id="2" name="N112_0072_V1_SC370-Organic-SoMe-post-2-8501_1200x1200px_IT-IT_PROOF1">
            <a:hlinkClick r:id="" action="ppaction://media"/>
            <a:extLst>
              <a:ext uri="{FF2B5EF4-FFF2-40B4-BE49-F238E27FC236}">
                <a16:creationId xmlns:a16="http://schemas.microsoft.com/office/drawing/2014/main" id="{02E4DD4B-1EDA-9E15-F65D-5710073943E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231709" y="1713098"/>
            <a:ext cx="3211514" cy="321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91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4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>
            <a:extLst>
              <a:ext uri="{FF2B5EF4-FFF2-40B4-BE49-F238E27FC236}">
                <a16:creationId xmlns:a16="http://schemas.microsoft.com/office/drawing/2014/main" id="{BACF6DDA-F4C1-4D21-7298-C7D4E9895E4D}"/>
              </a:ext>
            </a:extLst>
          </p:cNvPr>
          <p:cNvSpPr/>
          <p:nvPr/>
        </p:nvSpPr>
        <p:spPr>
          <a:xfrm>
            <a:off x="3950028" y="2350184"/>
            <a:ext cx="3160949" cy="363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Oval 12">
            <a:extLst>
              <a:ext uri="{FF2B5EF4-FFF2-40B4-BE49-F238E27FC236}">
                <a16:creationId xmlns:a16="http://schemas.microsoft.com/office/drawing/2014/main" id="{AC001122-6EE0-2A36-FD2D-27DDCD0EEFF1}"/>
              </a:ext>
            </a:extLst>
          </p:cNvPr>
          <p:cNvSpPr/>
          <p:nvPr/>
        </p:nvSpPr>
        <p:spPr>
          <a:xfrm>
            <a:off x="5035635" y="3333063"/>
            <a:ext cx="1310398" cy="1318524"/>
          </a:xfrm>
          <a:prstGeom prst="ellips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dirty="0">
                <a:solidFill>
                  <a:schemeClr val="bg1"/>
                </a:solidFill>
              </a:rPr>
              <a:t>Clicca sul bottone per vedere il video animato</a:t>
            </a: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D1CE591B-0E7E-065B-803D-A2A3C6328338}"/>
              </a:ext>
            </a:extLst>
          </p:cNvPr>
          <p:cNvSpPr/>
          <p:nvPr/>
        </p:nvSpPr>
        <p:spPr>
          <a:xfrm>
            <a:off x="1554023" y="1847887"/>
            <a:ext cx="3182112" cy="183158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dirty="0">
              <a:solidFill>
                <a:schemeClr val="tx1"/>
              </a:solidFill>
            </a:endParaRPr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E98B42C1-636C-1251-CA6D-BA7F8E309435}"/>
              </a:ext>
            </a:extLst>
          </p:cNvPr>
          <p:cNvSpPr txBox="1"/>
          <p:nvPr/>
        </p:nvSpPr>
        <p:spPr>
          <a:xfrm>
            <a:off x="1781679" y="2182454"/>
            <a:ext cx="2960267" cy="1061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it-IT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Doppiamente efficace. La nuova lavasciuga SC370 @Nilfisk, grazie al blocco del </a:t>
            </a:r>
            <a:r>
              <a:rPr lang="it-IT" sz="900" dirty="0" err="1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tergipavimenti</a:t>
            </a:r>
            <a:r>
              <a:rPr lang="it-IT" sz="900" dirty="0">
                <a:solidFill>
                  <a:srgbClr val="242424"/>
                </a:solidFill>
                <a:effectLst/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in posizione sollevata, può effettuare il prelavaggio per contrastare le macchie più ostinate! </a:t>
            </a:r>
            <a:r>
              <a:rPr lang="en-US" sz="900" dirty="0" err="1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Guardala</a:t>
            </a: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  <a:hlinkClick r:id="rId4"/>
              </a:rPr>
              <a:t> in azione</a:t>
            </a: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endParaRPr lang="en-US" sz="900" dirty="0">
              <a:solidFill>
                <a:srgbClr val="242424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rgbClr val="242424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#nilfiskitalia #nilfisk #lavasciugapavimenti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1">
            <a:extLst>
              <a:ext uri="{FF2B5EF4-FFF2-40B4-BE49-F238E27FC236}">
                <a16:creationId xmlns:a16="http://schemas.microsoft.com/office/drawing/2014/main" id="{BA2162F3-70DC-0BDA-BC12-C59B5EEAA3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5021"/>
          <a:stretch/>
        </p:blipFill>
        <p:spPr>
          <a:xfrm>
            <a:off x="6478768" y="1287682"/>
            <a:ext cx="576402" cy="442648"/>
          </a:xfrm>
          <a:prstGeom prst="rect">
            <a:avLst/>
          </a:prstGeom>
        </p:spPr>
      </p:pic>
      <p:sp>
        <p:nvSpPr>
          <p:cNvPr id="19" name="Titel 18">
            <a:extLst>
              <a:ext uri="{FF2B5EF4-FFF2-40B4-BE49-F238E27FC236}">
                <a16:creationId xmlns:a16="http://schemas.microsoft.com/office/drawing/2014/main" id="{AF4A140A-BA43-87B8-3DC1-EBC18FEF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4471"/>
            <a:ext cx="11233150" cy="525554"/>
          </a:xfrm>
        </p:spPr>
        <p:txBody>
          <a:bodyPr/>
          <a:lstStyle/>
          <a:p>
            <a:r>
              <a:rPr lang="en-US" dirty="0"/>
              <a:t>Testo per post Video3</a:t>
            </a:r>
            <a:br>
              <a:rPr lang="en-US" dirty="0"/>
            </a:br>
            <a:endParaRPr lang="da-DK" dirty="0"/>
          </a:p>
        </p:txBody>
      </p:sp>
      <p:pic>
        <p:nvPicPr>
          <p:cNvPr id="3" name="N112_0072_V1_SC370-Organic-SoMe-post-3-8501_1200x1200px_IT-IT_PROOF2">
            <a:hlinkClick r:id="" action="ppaction://media"/>
            <a:extLst>
              <a:ext uri="{FF2B5EF4-FFF2-40B4-BE49-F238E27FC236}">
                <a16:creationId xmlns:a16="http://schemas.microsoft.com/office/drawing/2014/main" id="{B85C3067-0F23-A3F9-4C26-1568165CD06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055170" y="2011986"/>
            <a:ext cx="3167225" cy="31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1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4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24a9d7-d0c7-4e4a-8d76-e1dffeb3f3ff" xsi:nil="true"/>
    <lcf76f155ced4ddcb4097134ff3c332f xmlns="2bfb3e6b-1369-41ae-b667-36c27c0bc0c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2C2D7AA440C24696E685128D3FB67C" ma:contentTypeVersion="18" ma:contentTypeDescription="Create a new document." ma:contentTypeScope="" ma:versionID="3a67dedec2433c032ed21ffc7026ed94">
  <xsd:schema xmlns:xsd="http://www.w3.org/2001/XMLSchema" xmlns:xs="http://www.w3.org/2001/XMLSchema" xmlns:p="http://schemas.microsoft.com/office/2006/metadata/properties" xmlns:ns2="2bfb3e6b-1369-41ae-b667-36c27c0bc0c4" xmlns:ns3="7e24a9d7-d0c7-4e4a-8d76-e1dffeb3f3ff" targetNamespace="http://schemas.microsoft.com/office/2006/metadata/properties" ma:root="true" ma:fieldsID="85bdba427d8d94c223ef44016ff348ca" ns2:_="" ns3:_="">
    <xsd:import namespace="2bfb3e6b-1369-41ae-b667-36c27c0bc0c4"/>
    <xsd:import namespace="7e24a9d7-d0c7-4e4a-8d76-e1dffeb3f3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3:TaxCatchAll" minOccurs="0"/>
                <xsd:element ref="ns2:lcf76f155ced4ddcb4097134ff3c332f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fb3e6b-1369-41ae-b667-36c27c0bc0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24a9d7-d0c7-4e4a-8d76-e1dffeb3f3f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a87a8bb7-9528-4e7b-ae7f-72952f1144a1}" ma:internalName="TaxCatchAll" ma:showField="CatchAllData" ma:web="7e24a9d7-d0c7-4e4a-8d76-e1dffeb3f3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4CFF4DF0-C362-4CE3-BC8D-D55629784E08"/>
    <ds:schemaRef ds:uri="a51901c0-0402-4d12-9849-aea77cadd7e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957957d-4a92-4580-a2cf-b69d4e975ccd"/>
    <ds:schemaRef ds:uri="1b808c17-2139-49cd-a317-8fc80a969d6a"/>
    <ds:schemaRef ds:uri="http://www.w3.org/XML/1998/namespace"/>
    <ds:schemaRef ds:uri="796424da-8f7d-4856-96a0-f041bea846f3"/>
    <ds:schemaRef ds:uri="d05c595e-b9fb-43e6-a954-ec77889a492b"/>
  </ds:schemaRefs>
</ds:datastoreItem>
</file>

<file path=customXml/itemProps2.xml><?xml version="1.0" encoding="utf-8"?>
<ds:datastoreItem xmlns:ds="http://schemas.openxmlformats.org/officeDocument/2006/customXml" ds:itemID="{5FE12F78-6F1A-4E7C-8EC7-2FEB89327E38}"/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657</TotalTime>
  <Words>176</Words>
  <Application>Microsoft Office PowerPoint</Application>
  <PresentationFormat>Widescreen</PresentationFormat>
  <Paragraphs>15</Paragraphs>
  <Slides>3</Slides>
  <Notes>0</Notes>
  <HiddenSlides>0</HiddenSlides>
  <MMClips>3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</vt:i4>
      </vt:variant>
    </vt:vector>
  </HeadingPairs>
  <TitlesOfParts>
    <vt:vector size="11" baseType="lpstr">
      <vt:lpstr>Arial</vt:lpstr>
      <vt:lpstr>Calibri</vt:lpstr>
      <vt:lpstr>Courier New</vt:lpstr>
      <vt:lpstr>Roboto Black</vt:lpstr>
      <vt:lpstr>Roboto Bold</vt:lpstr>
      <vt:lpstr>Roboto Light</vt:lpstr>
      <vt:lpstr>Nilfisk Toolbox_Standard_4-3</vt:lpstr>
      <vt:lpstr>think-cell Slide</vt:lpstr>
      <vt:lpstr>Testo per post Video1 </vt:lpstr>
      <vt:lpstr>Testo per post Video1 </vt:lpstr>
      <vt:lpstr>Testo per post Video3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Malene Bernfeld</dc:creator>
  <cp:lastModifiedBy>Giuliana Mandirola</cp:lastModifiedBy>
  <cp:revision>44</cp:revision>
  <dcterms:created xsi:type="dcterms:W3CDTF">2022-09-14T06:38:12Z</dcterms:created>
  <dcterms:modified xsi:type="dcterms:W3CDTF">2023-08-30T14:4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4E48FAF6C6CEAD46A91F15DEE11F177C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